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5"/>
  </p:notesMasterIdLst>
  <p:sldIdLst>
    <p:sldId id="256" r:id="rId5"/>
    <p:sldId id="258" r:id="rId6"/>
    <p:sldId id="272" r:id="rId7"/>
    <p:sldId id="262" r:id="rId8"/>
    <p:sldId id="264" r:id="rId9"/>
    <p:sldId id="265" r:id="rId10"/>
    <p:sldId id="266" r:id="rId11"/>
    <p:sldId id="273" r:id="rId12"/>
    <p:sldId id="268" r:id="rId13"/>
    <p:sldId id="271" r:id="rId14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userDrawn="1">
          <p15:clr>
            <a:srgbClr val="A4A3A4"/>
          </p15:clr>
        </p15:guide>
        <p15:guide id="11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801" autoAdjust="0"/>
    <p:restoredTop sz="52225" autoAdjust="0"/>
  </p:normalViewPr>
  <p:slideViewPr>
    <p:cSldViewPr snapToGrid="0">
      <p:cViewPr varScale="1">
        <p:scale>
          <a:sx n="32" d="100"/>
          <a:sy n="32" d="100"/>
        </p:scale>
        <p:origin x="1792" y="40"/>
      </p:cViewPr>
      <p:guideLst>
        <p:guide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ECAEC-52F5-405B-8299-2F9D97E484AA}" type="datetimeFigureOut">
              <a:rPr lang="en-NZ" smtClean="0"/>
              <a:t>2/09/2019</a:t>
            </a:fld>
            <a:endParaRPr lang="en-N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N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N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37E036-95E1-4C3C-BE3E-39015DE1134E}" type="slidenum">
              <a:rPr lang="en-NZ" smtClean="0"/>
              <a:t>‹#›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014874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37E036-95E1-4C3C-BE3E-39015DE1134E}" type="slidenum">
              <a:rPr lang="en-NZ" smtClean="0"/>
              <a:t>1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0953868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37E036-95E1-4C3C-BE3E-39015DE1134E}" type="slidenum">
              <a:rPr lang="en-NZ" smtClean="0"/>
              <a:t>10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512577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1" indent="-171450"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</a:pPr>
            <a:endParaRPr lang="en-NZ" sz="1100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buSzPct val="100000"/>
              <a:buFontTx/>
              <a:buChar char="-"/>
            </a:pPr>
            <a:endParaRPr lang="en-GB" sz="1200" dirty="0">
              <a:solidFill>
                <a:srgbClr val="313131"/>
              </a:solidFill>
            </a:endParaRPr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37E036-95E1-4C3C-BE3E-39015DE1134E}" type="slidenum">
              <a:rPr lang="en-NZ" smtClean="0"/>
              <a:t>2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6735414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37E036-95E1-4C3C-BE3E-39015DE1134E}" type="slidenum">
              <a:rPr lang="en-NZ" smtClean="0"/>
              <a:t>3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0167007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37E036-95E1-4C3C-BE3E-39015DE1134E}" type="slidenum">
              <a:rPr lang="en-NZ" smtClean="0"/>
              <a:t>4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40716337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37E036-95E1-4C3C-BE3E-39015DE1134E}" type="slidenum">
              <a:rPr lang="en-NZ" smtClean="0"/>
              <a:t>5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8825160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37E036-95E1-4C3C-BE3E-39015DE1134E}" type="slidenum">
              <a:rPr lang="en-NZ" smtClean="0"/>
              <a:t>6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3228924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37E036-95E1-4C3C-BE3E-39015DE1134E}" type="slidenum">
              <a:rPr lang="en-NZ" smtClean="0"/>
              <a:t>7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643218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37E036-95E1-4C3C-BE3E-39015DE1134E}" type="slidenum">
              <a:rPr lang="en-NZ" smtClean="0"/>
              <a:t>8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17141152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Z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37E036-95E1-4C3C-BE3E-39015DE1134E}" type="slidenum">
              <a:rPr lang="en-NZ" smtClean="0"/>
              <a:t>9</a:t>
            </a:fld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2825804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5856" y="727200"/>
            <a:ext cx="72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3989" y="5549440"/>
            <a:ext cx="559201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2" y="1628775"/>
            <a:ext cx="915236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7200"/>
            <a:ext cx="9277349" cy="47595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35184" y="6489880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Applying</a:t>
            </a:r>
            <a:r>
              <a:rPr lang="en-NZ" sz="650" baseline="0" noProof="0" dirty="0">
                <a:solidFill>
                  <a:schemeClr val="bg1"/>
                </a:solidFill>
              </a:rPr>
              <a:t> Agile to Successful ERP Implementations</a:t>
            </a:r>
            <a:br>
              <a:rPr lang="en-NZ" sz="650" noProof="0" dirty="0">
                <a:solidFill>
                  <a:schemeClr val="bg1"/>
                </a:solidFill>
              </a:rPr>
            </a:br>
            <a:endParaRPr lang="en-NZ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28775"/>
            <a:ext cx="9277349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701801"/>
            <a:ext cx="6240000" cy="4679950"/>
          </a:xfrm>
        </p:spPr>
        <p:txBody>
          <a:bodyPr/>
          <a:lstStyle/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489813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01651" y="5549440"/>
            <a:ext cx="55943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  <a:endParaRPr lang="en-NZ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700214"/>
            <a:ext cx="11188699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  <a:endParaRPr lang="en-NZ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65289"/>
            <a:ext cx="356235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03184" y="2051999"/>
            <a:ext cx="3561616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  <a:endParaRPr lang="en-N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03185" y="1665289"/>
            <a:ext cx="3561615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26397" y="2051999"/>
            <a:ext cx="3563953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dirty="0"/>
              <a:t>Click icon to add chart</a:t>
            </a:r>
            <a:endParaRPr lang="en-N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6" y="1659145"/>
            <a:ext cx="3563955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20266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20266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  <a:endParaRPr lang="en-NZ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  <a:endParaRPr lang="en-NZ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1" y="2125013"/>
            <a:ext cx="5339063" cy="3996000"/>
          </a:xfrm>
        </p:spPr>
        <p:txBody>
          <a:bodyPr/>
          <a:lstStyle/>
          <a:p>
            <a:r>
              <a:rPr lang="en-US" noProof="0" dirty="0"/>
              <a:t>Click icon to add chart</a:t>
            </a:r>
            <a:endParaRPr lang="en-NZ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39064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869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700214"/>
            <a:ext cx="624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0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0"/>
            <a:ext cx="1118869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3989" y="5864230"/>
            <a:ext cx="559201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0"/>
            <a:ext cx="11188700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80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700214"/>
            <a:ext cx="36957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83953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 noProof="0" dirty="0"/>
              <a:t>Click icon to add picture</a:t>
            </a:r>
            <a:endParaRPr lang="en-NZ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NZ" noProof="0" dirty="0"/>
              <a:t>Click to edit Master text styles</a:t>
            </a:r>
          </a:p>
          <a:p>
            <a:pPr lvl="1"/>
            <a:r>
              <a:rPr lang="en-NZ" noProof="0" dirty="0"/>
              <a:t>Second level</a:t>
            </a:r>
          </a:p>
          <a:p>
            <a:pPr lvl="2"/>
            <a:r>
              <a:rPr lang="en-NZ" noProof="0" dirty="0"/>
              <a:t>Third level</a:t>
            </a:r>
          </a:p>
          <a:p>
            <a:pPr lvl="3"/>
            <a:r>
              <a:rPr lang="en-NZ" noProof="0" dirty="0"/>
              <a:t>Fourth level</a:t>
            </a:r>
          </a:p>
          <a:p>
            <a:pPr lvl="4"/>
            <a:r>
              <a:rPr lang="en-NZ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NZ" noProof="0" dirty="0"/>
              <a:t>Click to edit Master text styles</a:t>
            </a:r>
          </a:p>
          <a:p>
            <a:pPr lvl="1"/>
            <a:r>
              <a:rPr lang="en-NZ" noProof="0" dirty="0"/>
              <a:t>Second level</a:t>
            </a:r>
          </a:p>
          <a:p>
            <a:pPr lvl="2"/>
            <a:r>
              <a:rPr lang="en-NZ" noProof="0" dirty="0"/>
              <a:t>Third level</a:t>
            </a:r>
          </a:p>
          <a:p>
            <a:pPr lvl="3"/>
            <a:r>
              <a:rPr lang="en-NZ" noProof="0" dirty="0"/>
              <a:t>Fourth level</a:t>
            </a:r>
          </a:p>
          <a:p>
            <a:pPr lvl="4"/>
            <a:r>
              <a:rPr lang="en-NZ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NZ" noProof="0" dirty="0"/>
              <a:t>Click to edit Master text styles</a:t>
            </a:r>
          </a:p>
          <a:p>
            <a:pPr lvl="1"/>
            <a:r>
              <a:rPr lang="en-NZ" noProof="0" dirty="0"/>
              <a:t>Second level</a:t>
            </a:r>
          </a:p>
          <a:p>
            <a:pPr lvl="2"/>
            <a:r>
              <a:rPr lang="en-NZ" noProof="0" dirty="0"/>
              <a:t>Third level</a:t>
            </a:r>
          </a:p>
          <a:p>
            <a:pPr lvl="3"/>
            <a:r>
              <a:rPr lang="en-NZ" noProof="0" dirty="0"/>
              <a:t>Fourth level</a:t>
            </a:r>
          </a:p>
          <a:p>
            <a:pPr lvl="4"/>
            <a:r>
              <a:rPr lang="en-NZ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2"/>
            <a:ext cx="11188700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69788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04000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46194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975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NZ" sz="1200" noProof="0" dirty="0">
                <a:solidFill>
                  <a:schemeClr val="bg1"/>
                </a:solidFill>
              </a:rPr>
              <a:t>Co-brand</a:t>
            </a:r>
            <a:br>
              <a:rPr lang="en-NZ" sz="1200" noProof="0" dirty="0">
                <a:solidFill>
                  <a:schemeClr val="bg1"/>
                </a:solidFill>
              </a:rPr>
            </a:br>
            <a:r>
              <a:rPr lang="en-NZ" sz="1200" noProof="0" dirty="0">
                <a:solidFill>
                  <a:schemeClr val="bg1"/>
                </a:solidFill>
              </a:rPr>
              <a:t>Logo</a:t>
            </a:r>
          </a:p>
          <a:p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NZ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851441"/>
            <a:ext cx="3540577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4000" y="1851441"/>
            <a:ext cx="356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28000" y="1851441"/>
            <a:ext cx="357115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651600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1" y="317501"/>
            <a:ext cx="11188700" cy="70518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317501"/>
            <a:ext cx="11188701" cy="789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00752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9584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5168" y="2556000"/>
            <a:ext cx="2592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87695"/>
            <a:ext cx="1118870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NZ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NZ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01651" y="5864230"/>
            <a:ext cx="55943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N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55943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4211955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NZ" sz="900" noProof="0" dirty="0"/>
              <a:t>Insert sponsorship mark here</a:t>
            </a:r>
            <a:endParaRPr lang="en-NZ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03988" y="378000"/>
            <a:ext cx="216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NZ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527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406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705670"/>
            <a:ext cx="1054100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335184" y="6477001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Presentation title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1651" y="6477000"/>
            <a:ext cx="5355167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NZ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NZ" sz="650" noProof="0" dirty="0">
                <a:solidFill>
                  <a:schemeClr val="bg1"/>
                </a:solidFill>
              </a:rPr>
            </a:br>
            <a:r>
              <a:rPr lang="en-NZ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"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317501"/>
            <a:ext cx="11188700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N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NZ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11382377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NZ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NZ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  <p:sldLayoutId id="2147483750" r:id="rId41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316" userDrawn="1">
          <p15:clr>
            <a:srgbClr val="F26B43"/>
          </p15:clr>
        </p15:guide>
        <p15:guide id="5" pos="7364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496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363" userDrawn="1">
          <p15:clr>
            <a:srgbClr val="F26B43"/>
          </p15:clr>
        </p15:guide>
        <p15:guide id="13" pos="1516" userDrawn="1">
          <p15:clr>
            <a:srgbClr val="F26B43"/>
          </p15:clr>
        </p15:guide>
        <p15:guide id="14" pos="2560" userDrawn="1">
          <p15:clr>
            <a:srgbClr val="F26B43"/>
          </p15:clr>
        </p15:guide>
        <p15:guide id="15" pos="2711" userDrawn="1">
          <p15:clr>
            <a:srgbClr val="F26B43"/>
          </p15:clr>
        </p15:guide>
        <p15:guide id="16" pos="6160" userDrawn="1">
          <p15:clr>
            <a:srgbClr val="F26B43"/>
          </p15:clr>
        </p15:guide>
        <p15:guide id="17" pos="3764" userDrawn="1">
          <p15:clr>
            <a:srgbClr val="F26B43"/>
          </p15:clr>
        </p15:guide>
        <p15:guide id="18" pos="3916" userDrawn="1">
          <p15:clr>
            <a:srgbClr val="F26B43"/>
          </p15:clr>
        </p15:guide>
        <p15:guide id="19" pos="3840" userDrawn="1">
          <p15:clr>
            <a:srgbClr val="F26B43"/>
          </p15:clr>
        </p15:guide>
        <p15:guide id="20" pos="6312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901992" y="5549440"/>
            <a:ext cx="7028649" cy="324000"/>
          </a:xfrm>
        </p:spPr>
        <p:txBody>
          <a:bodyPr/>
          <a:lstStyle/>
          <a:p>
            <a:r>
              <a:rPr lang="en-NZ" dirty="0"/>
              <a:t>Applying Agile to Successful ERP Implementations</a:t>
            </a:r>
            <a:endParaRPr lang="en-GB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901992" y="5864230"/>
            <a:ext cx="7668729" cy="505645"/>
          </a:xfrm>
        </p:spPr>
        <p:txBody>
          <a:bodyPr/>
          <a:lstStyle/>
          <a:p>
            <a:r>
              <a:rPr lang="en-NZ" dirty="0"/>
              <a:t>Alistair Morgan (Comfort Group) &amp; Christian Wehrle (Deloitte)</a:t>
            </a:r>
            <a:endParaRPr lang="en-GB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-1" t="1731" r="446" b="1316"/>
          <a:stretch/>
        </p:blipFill>
        <p:spPr>
          <a:xfrm>
            <a:off x="1901992" y="1613306"/>
            <a:ext cx="8093346" cy="366416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8952" y="201629"/>
            <a:ext cx="2580289" cy="1266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63386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NZ" dirty="0"/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76557514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171002" y="317500"/>
            <a:ext cx="8117201" cy="698500"/>
          </a:xfrm>
        </p:spPr>
        <p:txBody>
          <a:bodyPr/>
          <a:lstStyle/>
          <a:p>
            <a:r>
              <a:rPr lang="en-NZ" dirty="0">
                <a:solidFill>
                  <a:schemeClr val="bg1"/>
                </a:solidFill>
              </a:rPr>
              <a:t>Who are the New Zealand Comfort Group?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4294967295"/>
          </p:nvPr>
        </p:nvPicPr>
        <p:blipFill>
          <a:blip r:embed="rId3"/>
          <a:stretch>
            <a:fillRect/>
          </a:stretch>
        </p:blipFill>
        <p:spPr>
          <a:xfrm>
            <a:off x="1163324" y="871279"/>
            <a:ext cx="4983476" cy="262066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7576" y="3597387"/>
            <a:ext cx="4891567" cy="266015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171002" y="3785008"/>
            <a:ext cx="4088401" cy="15696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NZ" dirty="0">
                <a:solidFill>
                  <a:srgbClr val="92D050"/>
                </a:solidFill>
              </a:rPr>
              <a:t>Comfort Group - History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NZ" sz="1200" dirty="0">
                <a:solidFill>
                  <a:schemeClr val="bg1"/>
                </a:solidFill>
              </a:rPr>
              <a:t>NZ-based family business established in 1935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NZ" sz="1200" dirty="0">
                <a:solidFill>
                  <a:schemeClr val="bg1"/>
                </a:solidFill>
              </a:rPr>
              <a:t>Currently run by Graeme and Craig Turner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NZ" sz="1200" dirty="0">
                <a:solidFill>
                  <a:schemeClr val="bg1"/>
                </a:solidFill>
              </a:rPr>
              <a:t>Agility is in our DNA</a:t>
            </a:r>
          </a:p>
          <a:p>
            <a:pPr marL="285750" indent="-2857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endParaRPr lang="en-NZ" sz="1100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  <a:buSzPct val="100000"/>
            </a:pPr>
            <a:endParaRPr lang="en-GB" sz="1200" dirty="0">
              <a:solidFill>
                <a:srgbClr val="31313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547576" y="871279"/>
            <a:ext cx="4326390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en-NZ" dirty="0">
                <a:solidFill>
                  <a:srgbClr val="92D050"/>
                </a:solidFill>
              </a:rPr>
              <a:t>Comfort Group – The Business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NZ" sz="1200" dirty="0">
                <a:solidFill>
                  <a:schemeClr val="bg1"/>
                </a:solidFill>
              </a:rPr>
              <a:t>Primarily a consumer goods manufacturing business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NZ" sz="1200" dirty="0">
                <a:solidFill>
                  <a:schemeClr val="bg1"/>
                </a:solidFill>
              </a:rPr>
              <a:t>Manufacture and distribute products across three main divisions: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NZ" sz="1200" dirty="0">
                <a:solidFill>
                  <a:schemeClr val="bg1"/>
                </a:solidFill>
              </a:rPr>
              <a:t>Foam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NZ" sz="1200" dirty="0">
                <a:solidFill>
                  <a:schemeClr val="bg1"/>
                </a:solidFill>
              </a:rPr>
              <a:t>Bedding</a:t>
            </a:r>
          </a:p>
          <a:p>
            <a:pPr marL="628650" lvl="1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NZ" sz="1200" dirty="0">
                <a:solidFill>
                  <a:schemeClr val="bg1"/>
                </a:solidFill>
              </a:rPr>
              <a:t>Flooring</a:t>
            </a:r>
          </a:p>
          <a:p>
            <a:pPr marL="171450" indent="-171450"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NZ" sz="1200" dirty="0">
                <a:solidFill>
                  <a:schemeClr val="bg1"/>
                </a:solidFill>
              </a:rPr>
              <a:t>Dominant in the NZ market and also significant sales in AU and the wider APAC region</a:t>
            </a:r>
          </a:p>
        </p:txBody>
      </p:sp>
    </p:spTree>
    <p:extLst>
      <p:ext uri="{BB962C8B-B14F-4D97-AF65-F5344CB8AC3E}">
        <p14:creationId xmlns:p14="http://schemas.microsoft.com/office/powerpoint/2010/main" val="306556815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2935" y="1130374"/>
            <a:ext cx="8683809" cy="5258086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 bwMode="gray">
          <a:xfrm>
            <a:off x="1831189" y="317500"/>
            <a:ext cx="8084336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NZ" dirty="0"/>
              <a:t>Archite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03760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1189" y="317500"/>
            <a:ext cx="8084336" cy="698500"/>
          </a:xfrm>
        </p:spPr>
        <p:txBody>
          <a:bodyPr/>
          <a:lstStyle/>
          <a:p>
            <a:r>
              <a:rPr lang="en-NZ" dirty="0">
                <a:solidFill>
                  <a:schemeClr val="bg1"/>
                </a:solidFill>
              </a:rPr>
              <a:t>Overview of the Current Plan/Roadmap</a:t>
            </a:r>
            <a:endParaRPr lang="en-GB" dirty="0">
              <a:solidFill>
                <a:schemeClr val="bg1"/>
              </a:solidFill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7423356"/>
              </p:ext>
            </p:extLst>
          </p:nvPr>
        </p:nvGraphicFramePr>
        <p:xfrm>
          <a:off x="789239" y="2265836"/>
          <a:ext cx="10352940" cy="689037"/>
        </p:xfrm>
        <a:graphic>
          <a:graphicData uri="http://schemas.openxmlformats.org/drawingml/2006/table">
            <a:tbl>
              <a:tblPr firstRow="1" bandRow="1"/>
              <a:tblGrid>
                <a:gridCol w="345098">
                  <a:extLst>
                    <a:ext uri="{9D8B030D-6E8A-4147-A177-3AD203B41FA5}">
                      <a16:colId xmlns:a16="http://schemas.microsoft.com/office/drawing/2014/main" val="1374875388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647383824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583759672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918396626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121874136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2924933487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3858191040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565632795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3392002842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3895151869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279622570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775926617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822216154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463030289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3314985773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4064153798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1845553814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2238219383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473782167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1765167702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3178071962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1663296647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847490358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3453818209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1055917318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3247264254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891719031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2460637836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2436378835"/>
                    </a:ext>
                  </a:extLst>
                </a:gridCol>
                <a:gridCol w="345098">
                  <a:extLst>
                    <a:ext uri="{9D8B030D-6E8A-4147-A177-3AD203B41FA5}">
                      <a16:colId xmlns:a16="http://schemas.microsoft.com/office/drawing/2014/main" val="4252480182"/>
                    </a:ext>
                  </a:extLst>
                </a:gridCol>
              </a:tblGrid>
              <a:tr h="365061"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/>
                        <a:t>2019</a:t>
                      </a:r>
                      <a:endParaRPr lang="en-NZ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gridSpan="1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dirty="0"/>
                        <a:t>2020</a:t>
                      </a:r>
                      <a:endParaRPr lang="en-NZ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gridSpan="6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/>
                      <a:r>
                        <a:rPr lang="en-US" dirty="0"/>
                        <a:t>2021</a:t>
                      </a:r>
                      <a:endParaRPr lang="en-NZ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546A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Z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4147600"/>
                  </a:ext>
                </a:extLst>
              </a:tr>
              <a:tr h="3232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JAN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FEB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MAR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APR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MAY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JUN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JUL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AUG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SEP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OCT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NOV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DEC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JAN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FEB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MAR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APR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MAY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JUN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JUL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AUG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SEP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OCT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NOV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DEC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JAN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FEB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MAR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APR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MAY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en-US" sz="900" dirty="0"/>
                        <a:t>JUN</a:t>
                      </a:r>
                      <a:endParaRPr lang="en-NZ" sz="900" dirty="0"/>
                    </a:p>
                  </a:txBody>
                  <a:tcPr vert="vert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379663"/>
                  </a:ext>
                </a:extLst>
              </a:tr>
            </a:tbl>
          </a:graphicData>
        </a:graphic>
      </p:graphicFrame>
      <p:sp>
        <p:nvSpPr>
          <p:cNvPr id="18" name="Rectangle 17"/>
          <p:cNvSpPr/>
          <p:nvPr/>
        </p:nvSpPr>
        <p:spPr>
          <a:xfrm>
            <a:off x="1421478" y="3973286"/>
            <a:ext cx="324196" cy="349135"/>
          </a:xfrm>
          <a:prstGeom prst="rect">
            <a:avLst/>
          </a:prstGeom>
          <a:solidFill>
            <a:srgbClr val="FFC000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45674" y="4009353"/>
            <a:ext cx="22361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t-Implementation Support</a:t>
            </a:r>
            <a:endParaRPr lang="en-NZ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789240" y="3048917"/>
            <a:ext cx="1701156" cy="289779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solidFill>
              <a:srgbClr val="44546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O Central Finance</a:t>
            </a:r>
            <a:endParaRPr kumimoji="0" lang="en-NZ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863530" y="3048917"/>
            <a:ext cx="2759824" cy="289779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solidFill>
              <a:srgbClr val="44546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O for Flooring</a:t>
            </a:r>
            <a:endParaRPr kumimoji="0" lang="en-NZ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635613" y="3048917"/>
            <a:ext cx="318452" cy="289779"/>
          </a:xfrm>
          <a:prstGeom prst="rect">
            <a:avLst/>
          </a:prstGeom>
          <a:solidFill>
            <a:srgbClr val="FFC000">
              <a:lumMod val="60000"/>
              <a:lumOff val="40000"/>
            </a:srgbClr>
          </a:solidFill>
          <a:ln w="12700" cap="flat" cmpd="sng" algn="ctr">
            <a:solidFill>
              <a:srgbClr val="FFC000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966324" y="3049076"/>
            <a:ext cx="2411489" cy="289620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solidFill>
              <a:srgbClr val="44546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O for NZ Foams</a:t>
            </a:r>
            <a:endParaRPr kumimoji="0" lang="en-NZ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8392876" y="3048917"/>
            <a:ext cx="338049" cy="289779"/>
          </a:xfrm>
          <a:prstGeom prst="rect">
            <a:avLst/>
          </a:prstGeom>
          <a:solidFill>
            <a:srgbClr val="FFC000">
              <a:lumMod val="60000"/>
              <a:lumOff val="40000"/>
            </a:srgbClr>
          </a:solidFill>
          <a:ln w="12700" cap="flat" cmpd="sng" algn="ctr">
            <a:solidFill>
              <a:srgbClr val="FFC000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733367" y="3048917"/>
            <a:ext cx="2032098" cy="289779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solidFill>
              <a:srgbClr val="44546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O AU Foams</a:t>
            </a:r>
            <a:endParaRPr kumimoji="0" lang="en-NZ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0781526" y="3048917"/>
            <a:ext cx="338049" cy="289779"/>
          </a:xfrm>
          <a:prstGeom prst="rect">
            <a:avLst/>
          </a:prstGeom>
          <a:solidFill>
            <a:srgbClr val="FFC000">
              <a:lumMod val="60000"/>
              <a:lumOff val="40000"/>
            </a:srgbClr>
          </a:solidFill>
          <a:ln w="12700" cap="flat" cmpd="sng" algn="ctr">
            <a:solidFill>
              <a:srgbClr val="FFC000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308436" y="3409266"/>
            <a:ext cx="4807162" cy="285280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solidFill>
              <a:srgbClr val="44546A">
                <a:lumMod val="40000"/>
                <a:lumOff val="6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O for Bedding</a:t>
            </a:r>
            <a:endParaRPr kumimoji="0" lang="en-NZ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Right Arrow 27"/>
          <p:cNvSpPr/>
          <p:nvPr/>
        </p:nvSpPr>
        <p:spPr>
          <a:xfrm>
            <a:off x="11177688" y="3262421"/>
            <a:ext cx="311251" cy="579330"/>
          </a:xfrm>
          <a:prstGeom prst="rightArrow">
            <a:avLst/>
          </a:prstGeom>
          <a:solidFill>
            <a:srgbClr val="4472C4">
              <a:lumMod val="50000"/>
            </a:srgbClr>
          </a:solidFill>
          <a:ln w="1270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503715" y="3048917"/>
            <a:ext cx="343754" cy="289779"/>
          </a:xfrm>
          <a:prstGeom prst="rect">
            <a:avLst/>
          </a:prstGeom>
          <a:solidFill>
            <a:srgbClr val="FFC000">
              <a:lumMod val="60000"/>
              <a:lumOff val="40000"/>
            </a:srgbClr>
          </a:solidFill>
          <a:ln w="12700" cap="flat" cmpd="sng" algn="ctr">
            <a:solidFill>
              <a:srgbClr val="FFC000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3184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1189" y="317500"/>
            <a:ext cx="8084336" cy="698500"/>
          </a:xfrm>
        </p:spPr>
        <p:txBody>
          <a:bodyPr/>
          <a:lstStyle/>
          <a:p>
            <a:r>
              <a:rPr lang="en-NZ" dirty="0">
                <a:solidFill>
                  <a:schemeClr val="bg1"/>
                </a:solidFill>
              </a:rPr>
              <a:t>ERP Solution Process Scop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114009" y="2851366"/>
            <a:ext cx="1418706" cy="332509"/>
          </a:xfrm>
          <a:prstGeom prst="rect">
            <a:avLst/>
          </a:prstGeom>
          <a:solidFill>
            <a:srgbClr val="44546A">
              <a:lumMod val="75000"/>
            </a:srgbClr>
          </a:solidFill>
          <a:ln w="127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</a:t>
            </a:r>
            <a:endParaRPr kumimoji="0" lang="en-NZ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554880" y="2852965"/>
            <a:ext cx="1418706" cy="332509"/>
          </a:xfrm>
          <a:prstGeom prst="rect">
            <a:avLst/>
          </a:prstGeom>
          <a:solidFill>
            <a:srgbClr val="44546A">
              <a:lumMod val="75000"/>
            </a:srgbClr>
          </a:solidFill>
          <a:ln w="127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</a:t>
            </a:r>
            <a:endParaRPr kumimoji="0" lang="en-NZ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995751" y="2851366"/>
            <a:ext cx="1418706" cy="332509"/>
          </a:xfrm>
          <a:prstGeom prst="rect">
            <a:avLst/>
          </a:prstGeom>
          <a:solidFill>
            <a:srgbClr val="44546A">
              <a:lumMod val="75000"/>
            </a:srgbClr>
          </a:solidFill>
          <a:ln w="127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</a:t>
            </a:r>
            <a:endParaRPr kumimoji="0" lang="en-NZ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0433855" y="2851365"/>
            <a:ext cx="1418706" cy="332509"/>
          </a:xfrm>
          <a:prstGeom prst="rect">
            <a:avLst/>
          </a:prstGeom>
          <a:solidFill>
            <a:srgbClr val="44546A">
              <a:lumMod val="75000"/>
            </a:srgbClr>
          </a:solidFill>
          <a:ln w="127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B</a:t>
            </a:r>
            <a:endParaRPr kumimoji="0" lang="en-NZ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49132" y="2851366"/>
            <a:ext cx="1418706" cy="332509"/>
          </a:xfrm>
          <a:prstGeom prst="rect">
            <a:avLst/>
          </a:prstGeom>
          <a:solidFill>
            <a:srgbClr val="44546A">
              <a:lumMod val="75000"/>
            </a:srgbClr>
          </a:solidFill>
          <a:ln w="127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L</a:t>
            </a:r>
            <a:endParaRPr kumimoji="0" lang="en-NZ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792777" y="2851366"/>
            <a:ext cx="1418706" cy="332509"/>
          </a:xfrm>
          <a:prstGeom prst="rect">
            <a:avLst/>
          </a:prstGeom>
          <a:solidFill>
            <a:srgbClr val="44546A">
              <a:lumMod val="75000"/>
            </a:srgbClr>
          </a:solidFill>
          <a:ln w="127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G</a:t>
            </a:r>
            <a:endParaRPr kumimoji="0" lang="en-NZ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236418" y="2851366"/>
            <a:ext cx="1418706" cy="332509"/>
          </a:xfrm>
          <a:prstGeom prst="rect">
            <a:avLst/>
          </a:prstGeom>
          <a:solidFill>
            <a:srgbClr val="44546A">
              <a:lumMod val="75000"/>
            </a:srgbClr>
          </a:solidFill>
          <a:ln w="127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P</a:t>
            </a:r>
            <a:endParaRPr kumimoji="0" lang="en-NZ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678678" y="2851365"/>
            <a:ext cx="1418706" cy="332509"/>
          </a:xfrm>
          <a:prstGeom prst="rect">
            <a:avLst/>
          </a:prstGeom>
          <a:solidFill>
            <a:srgbClr val="44546A">
              <a:lumMod val="75000"/>
            </a:srgbClr>
          </a:solidFill>
          <a:ln w="12700" cap="flat" cmpd="sng" algn="ctr">
            <a:solidFill>
              <a:schemeClr val="tx2">
                <a:lumMod val="20000"/>
                <a:lumOff val="8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T</a:t>
            </a:r>
            <a:endParaRPr kumimoji="0" lang="en-NZ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619888" y="3271342"/>
            <a:ext cx="2477496" cy="332509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ooring – Purchasing/AP</a:t>
            </a:r>
            <a:endParaRPr kumimoji="0" lang="en-NZ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49132" y="3271342"/>
            <a:ext cx="3251761" cy="332509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ooring – Sales/AR</a:t>
            </a:r>
            <a:endParaRPr kumimoji="0" lang="en-NZ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122066" y="3271342"/>
            <a:ext cx="2851520" cy="332509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ooring – Production</a:t>
            </a:r>
            <a:endParaRPr kumimoji="0" lang="en-NZ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0433855" y="3271342"/>
            <a:ext cx="1414955" cy="701835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ooring - Deployment</a:t>
            </a:r>
            <a:endParaRPr kumimoji="0" lang="en-NZ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838200" y="3641440"/>
            <a:ext cx="2756753" cy="332509"/>
          </a:xfrm>
          <a:prstGeom prst="rect">
            <a:avLst/>
          </a:prstGeom>
          <a:solidFill>
            <a:srgbClr val="FFC000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MS Replatform+</a:t>
            </a:r>
            <a:endParaRPr kumimoji="0" lang="en-NZ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619888" y="3641440"/>
            <a:ext cx="2477496" cy="332509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ooring – Data Warehouse</a:t>
            </a:r>
            <a:endParaRPr kumimoji="0" lang="en-NZ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124203" y="3641440"/>
            <a:ext cx="2849384" cy="332509"/>
          </a:xfrm>
          <a:prstGeom prst="rect">
            <a:avLst/>
          </a:prstGeom>
          <a:solidFill>
            <a:srgbClr val="44546A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looring – Sales Portal</a:t>
            </a:r>
            <a:endParaRPr kumimoji="0" lang="en-NZ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8997626" y="3271342"/>
            <a:ext cx="1414955" cy="701835"/>
          </a:xfrm>
          <a:prstGeom prst="rect">
            <a:avLst/>
          </a:prstGeom>
          <a:solidFill>
            <a:srgbClr val="FFC000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ailable Capacity*</a:t>
            </a:r>
            <a:endParaRPr kumimoji="0" lang="en-NZ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29658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1189" y="317500"/>
            <a:ext cx="8084336" cy="698500"/>
          </a:xfrm>
        </p:spPr>
        <p:txBody>
          <a:bodyPr/>
          <a:lstStyle/>
          <a:p>
            <a:r>
              <a:rPr lang="en-NZ" dirty="0">
                <a:solidFill>
                  <a:schemeClr val="bg1"/>
                </a:solidFill>
              </a:rPr>
              <a:t>Stories Within Phases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3416" y="761815"/>
            <a:ext cx="8861780" cy="5659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01887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1189" y="317500"/>
            <a:ext cx="8084336" cy="698500"/>
          </a:xfrm>
        </p:spPr>
        <p:txBody>
          <a:bodyPr/>
          <a:lstStyle/>
          <a:p>
            <a:r>
              <a:rPr lang="en-NZ" dirty="0">
                <a:solidFill>
                  <a:schemeClr val="bg1"/>
                </a:solidFill>
              </a:rPr>
              <a:t>Our Story Delivery Pattern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AAC8DB5-2B7E-4795-8790-F579D01277DD}"/>
              </a:ext>
            </a:extLst>
          </p:cNvPr>
          <p:cNvSpPr/>
          <p:nvPr/>
        </p:nvSpPr>
        <p:spPr>
          <a:xfrm rot="5400000">
            <a:off x="4814668" y="-362791"/>
            <a:ext cx="2440744" cy="7729086"/>
          </a:xfrm>
          <a:prstGeom prst="rect">
            <a:avLst/>
          </a:prstGeom>
          <a:solidFill>
            <a:srgbClr val="4472C4">
              <a:lumMod val="40000"/>
              <a:lumOff val="6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vert270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NZ" sz="2000" kern="0" dirty="0">
              <a:solidFill>
                <a:srgbClr val="4472C4">
                  <a:lumMod val="50000"/>
                </a:srgbClr>
              </a:solidFill>
              <a:latin typeface="Arial Black" panose="020B0A040201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23E3F10-C259-4442-99AD-FD5358388DF0}"/>
              </a:ext>
            </a:extLst>
          </p:cNvPr>
          <p:cNvSpPr/>
          <p:nvPr/>
        </p:nvSpPr>
        <p:spPr>
          <a:xfrm rot="5400000">
            <a:off x="97288" y="2697039"/>
            <a:ext cx="2440742" cy="1609425"/>
          </a:xfrm>
          <a:prstGeom prst="rect">
            <a:avLst/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2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AA3F144-DCCA-42C7-9291-D5BF1B7F5009}"/>
              </a:ext>
            </a:extLst>
          </p:cNvPr>
          <p:cNvSpPr/>
          <p:nvPr/>
        </p:nvSpPr>
        <p:spPr>
          <a:xfrm rot="5400000">
            <a:off x="9609656" y="2619434"/>
            <a:ext cx="2440742" cy="1764635"/>
          </a:xfrm>
          <a:prstGeom prst="rect">
            <a:avLst/>
          </a:prstGeom>
          <a:solidFill>
            <a:srgbClr val="E7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200" b="0" i="0" u="none" strike="noStrike" kern="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1FEA47E-0CDD-4B38-ACC2-5272FEF7D607}"/>
              </a:ext>
            </a:extLst>
          </p:cNvPr>
          <p:cNvSpPr txBox="1"/>
          <p:nvPr/>
        </p:nvSpPr>
        <p:spPr>
          <a:xfrm>
            <a:off x="9788733" y="2566782"/>
            <a:ext cx="20742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prstClr val="black"/>
                </a:solidFill>
                <a:latin typeface="Calibri" panose="020F0502020204030204"/>
              </a:rPr>
              <a:t>Sprint Review</a:t>
            </a:r>
            <a:endParaRPr lang="en-NZ" sz="20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43F7EA1-BC88-484E-BF25-3E3F93A18457}"/>
              </a:ext>
            </a:extLst>
          </p:cNvPr>
          <p:cNvSpPr txBox="1"/>
          <p:nvPr/>
        </p:nvSpPr>
        <p:spPr>
          <a:xfrm>
            <a:off x="302683" y="2566782"/>
            <a:ext cx="20742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prstClr val="black"/>
                </a:solidFill>
                <a:latin typeface="Calibri" panose="020F0502020204030204"/>
              </a:rPr>
              <a:t>Pre-Sprint</a:t>
            </a:r>
            <a:endParaRPr lang="en-NZ" sz="20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CD61CAB-6154-40B5-B318-938D355F908D}"/>
              </a:ext>
            </a:extLst>
          </p:cNvPr>
          <p:cNvSpPr txBox="1"/>
          <p:nvPr/>
        </p:nvSpPr>
        <p:spPr>
          <a:xfrm>
            <a:off x="4999148" y="2566782"/>
            <a:ext cx="20742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prstClr val="black"/>
                </a:solidFill>
                <a:latin typeface="Calibri" panose="020F0502020204030204"/>
              </a:rPr>
              <a:t>Delivery in Sprint</a:t>
            </a:r>
            <a:endParaRPr lang="en-NZ" sz="20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45BEACD-19CA-48C9-A38B-37EA11D4DFFF}"/>
              </a:ext>
            </a:extLst>
          </p:cNvPr>
          <p:cNvSpPr/>
          <p:nvPr/>
        </p:nvSpPr>
        <p:spPr>
          <a:xfrm>
            <a:off x="2411127" y="3030113"/>
            <a:ext cx="1126156" cy="943276"/>
          </a:xfrm>
          <a:prstGeom prst="rect">
            <a:avLst/>
          </a:prstGeom>
          <a:solidFill>
            <a:srgbClr val="5B9BD5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blem Analysis</a:t>
            </a: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CDDDC8F8-851E-4D1E-A756-26F0A7038E00}"/>
              </a:ext>
            </a:extLst>
          </p:cNvPr>
          <p:cNvSpPr/>
          <p:nvPr/>
        </p:nvSpPr>
        <p:spPr>
          <a:xfrm>
            <a:off x="760465" y="3030113"/>
            <a:ext cx="1126156" cy="943276"/>
          </a:xfrm>
          <a:prstGeom prst="rect">
            <a:avLst/>
          </a:prstGeom>
          <a:solidFill>
            <a:srgbClr val="5B9BD5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ory Definition</a:t>
            </a: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424A2B9-8D9B-4398-8FB1-4261296C59B3}"/>
              </a:ext>
            </a:extLst>
          </p:cNvPr>
          <p:cNvSpPr/>
          <p:nvPr/>
        </p:nvSpPr>
        <p:spPr>
          <a:xfrm>
            <a:off x="3638614" y="3030113"/>
            <a:ext cx="1126156" cy="943276"/>
          </a:xfrm>
          <a:prstGeom prst="rect">
            <a:avLst/>
          </a:prstGeom>
          <a:solidFill>
            <a:srgbClr val="5B9BD5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sign</a:t>
            </a: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7CF60CC-EDB4-4B5C-8BF1-4E0B20E0322A}"/>
              </a:ext>
            </a:extLst>
          </p:cNvPr>
          <p:cNvSpPr/>
          <p:nvPr/>
        </p:nvSpPr>
        <p:spPr>
          <a:xfrm>
            <a:off x="4866101" y="3030113"/>
            <a:ext cx="1126156" cy="943276"/>
          </a:xfrm>
          <a:prstGeom prst="rect">
            <a:avLst/>
          </a:prstGeom>
          <a:solidFill>
            <a:srgbClr val="5B9BD5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idate Design</a:t>
            </a: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1DB7E99-EF13-4EE7-B584-B7D4F2FD3527}"/>
              </a:ext>
            </a:extLst>
          </p:cNvPr>
          <p:cNvSpPr/>
          <p:nvPr/>
        </p:nvSpPr>
        <p:spPr>
          <a:xfrm>
            <a:off x="6088776" y="3030113"/>
            <a:ext cx="1126156" cy="943276"/>
          </a:xfrm>
          <a:prstGeom prst="rect">
            <a:avLst/>
          </a:prstGeom>
          <a:solidFill>
            <a:srgbClr val="5B9BD5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</a:t>
            </a: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63BC8009-4B5E-480B-AD97-7EF6277C66FA}"/>
              </a:ext>
            </a:extLst>
          </p:cNvPr>
          <p:cNvSpPr/>
          <p:nvPr/>
        </p:nvSpPr>
        <p:spPr>
          <a:xfrm>
            <a:off x="7311451" y="3030113"/>
            <a:ext cx="1126156" cy="943276"/>
          </a:xfrm>
          <a:prstGeom prst="rect">
            <a:avLst/>
          </a:prstGeom>
          <a:solidFill>
            <a:srgbClr val="5B9BD5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idate Solution</a:t>
            </a: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F2D7A7C-A871-4CD7-831E-B4DB0E2FA3DE}"/>
              </a:ext>
            </a:extLst>
          </p:cNvPr>
          <p:cNvSpPr/>
          <p:nvPr/>
        </p:nvSpPr>
        <p:spPr>
          <a:xfrm>
            <a:off x="8534126" y="3030113"/>
            <a:ext cx="1126156" cy="943276"/>
          </a:xfrm>
          <a:prstGeom prst="rect">
            <a:avLst/>
          </a:prstGeom>
          <a:solidFill>
            <a:srgbClr val="70AD47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NE</a:t>
            </a: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643AB8F-CE4C-4779-88BE-0F1E2F95BB88}"/>
              </a:ext>
            </a:extLst>
          </p:cNvPr>
          <p:cNvSpPr/>
          <p:nvPr/>
        </p:nvSpPr>
        <p:spPr>
          <a:xfrm>
            <a:off x="10043962" y="3030113"/>
            <a:ext cx="1126156" cy="943276"/>
          </a:xfrm>
          <a:prstGeom prst="rect">
            <a:avLst/>
          </a:prstGeom>
          <a:solidFill>
            <a:srgbClr val="5B9BD5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ive Demo</a:t>
            </a: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DCF899D-E464-4706-96DF-A4C4A8919BE6}"/>
              </a:ext>
            </a:extLst>
          </p:cNvPr>
          <p:cNvSpPr/>
          <p:nvPr/>
        </p:nvSpPr>
        <p:spPr>
          <a:xfrm>
            <a:off x="2170497" y="5084960"/>
            <a:ext cx="7729086" cy="647237"/>
          </a:xfrm>
          <a:prstGeom prst="rect">
            <a:avLst/>
          </a:prstGeom>
          <a:solidFill>
            <a:srgbClr val="5B9BD5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ition of Done</a:t>
            </a:r>
            <a:endParaRPr kumimoji="0" lang="en-NZ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Arrow: Down 24">
            <a:extLst>
              <a:ext uri="{FF2B5EF4-FFF2-40B4-BE49-F238E27FC236}">
                <a16:creationId xmlns:a16="http://schemas.microsoft.com/office/drawing/2014/main" id="{BA29990B-46D9-4F36-8D6B-77F3BEBD511C}"/>
              </a:ext>
            </a:extLst>
          </p:cNvPr>
          <p:cNvSpPr/>
          <p:nvPr/>
        </p:nvSpPr>
        <p:spPr>
          <a:xfrm>
            <a:off x="8755507" y="4039403"/>
            <a:ext cx="683394" cy="1010812"/>
          </a:xfrm>
          <a:prstGeom prst="downArrow">
            <a:avLst/>
          </a:prstGeom>
          <a:solidFill>
            <a:srgbClr val="E7E6E6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Arrow: Down 25">
            <a:extLst>
              <a:ext uri="{FF2B5EF4-FFF2-40B4-BE49-F238E27FC236}">
                <a16:creationId xmlns:a16="http://schemas.microsoft.com/office/drawing/2014/main" id="{7A36CA2A-A551-4775-838E-F2219997DA23}"/>
              </a:ext>
            </a:extLst>
          </p:cNvPr>
          <p:cNvSpPr/>
          <p:nvPr/>
        </p:nvSpPr>
        <p:spPr>
          <a:xfrm rot="10800000">
            <a:off x="5087482" y="4039401"/>
            <a:ext cx="683394" cy="1010812"/>
          </a:xfrm>
          <a:prstGeom prst="downArrow">
            <a:avLst/>
          </a:prstGeom>
          <a:solidFill>
            <a:srgbClr val="E7E6E6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Arrow: Down 26">
            <a:extLst>
              <a:ext uri="{FF2B5EF4-FFF2-40B4-BE49-F238E27FC236}">
                <a16:creationId xmlns:a16="http://schemas.microsoft.com/office/drawing/2014/main" id="{AAAF9B09-ADE5-4EC5-95FA-D5136B5404A6}"/>
              </a:ext>
            </a:extLst>
          </p:cNvPr>
          <p:cNvSpPr/>
          <p:nvPr/>
        </p:nvSpPr>
        <p:spPr>
          <a:xfrm rot="10800000">
            <a:off x="6346748" y="4035341"/>
            <a:ext cx="683394" cy="1010812"/>
          </a:xfrm>
          <a:prstGeom prst="downArrow">
            <a:avLst/>
          </a:prstGeom>
          <a:solidFill>
            <a:srgbClr val="E7E6E6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Arrow: Down 27">
            <a:extLst>
              <a:ext uri="{FF2B5EF4-FFF2-40B4-BE49-F238E27FC236}">
                <a16:creationId xmlns:a16="http://schemas.microsoft.com/office/drawing/2014/main" id="{AE378934-CF99-4D61-A359-F0E67752CD30}"/>
              </a:ext>
            </a:extLst>
          </p:cNvPr>
          <p:cNvSpPr/>
          <p:nvPr/>
        </p:nvSpPr>
        <p:spPr>
          <a:xfrm rot="10800000">
            <a:off x="7570185" y="4029840"/>
            <a:ext cx="683394" cy="1010812"/>
          </a:xfrm>
          <a:prstGeom prst="downArrow">
            <a:avLst/>
          </a:prstGeom>
          <a:solidFill>
            <a:srgbClr val="E7E6E6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Arrow: Down 28">
            <a:extLst>
              <a:ext uri="{FF2B5EF4-FFF2-40B4-BE49-F238E27FC236}">
                <a16:creationId xmlns:a16="http://schemas.microsoft.com/office/drawing/2014/main" id="{9EE5EDEF-C7E9-4B99-AB69-124D555D2D58}"/>
              </a:ext>
            </a:extLst>
          </p:cNvPr>
          <p:cNvSpPr/>
          <p:nvPr/>
        </p:nvSpPr>
        <p:spPr>
          <a:xfrm rot="10800000">
            <a:off x="10265343" y="1783058"/>
            <a:ext cx="683394" cy="719488"/>
          </a:xfrm>
          <a:prstGeom prst="downArrow">
            <a:avLst/>
          </a:prstGeom>
          <a:solidFill>
            <a:srgbClr val="E7E6E6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Arrow: Down 34">
            <a:extLst>
              <a:ext uri="{FF2B5EF4-FFF2-40B4-BE49-F238E27FC236}">
                <a16:creationId xmlns:a16="http://schemas.microsoft.com/office/drawing/2014/main" id="{B9ED752C-20B6-4F04-B780-3D344E8C9277}"/>
              </a:ext>
            </a:extLst>
          </p:cNvPr>
          <p:cNvSpPr/>
          <p:nvPr/>
        </p:nvSpPr>
        <p:spPr>
          <a:xfrm rot="10800000">
            <a:off x="3883102" y="4039401"/>
            <a:ext cx="683394" cy="1010812"/>
          </a:xfrm>
          <a:prstGeom prst="downArrow">
            <a:avLst/>
          </a:prstGeom>
          <a:solidFill>
            <a:srgbClr val="E7E6E6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Z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5097A90-DD43-4052-9036-470893017E36}"/>
              </a:ext>
            </a:extLst>
          </p:cNvPr>
          <p:cNvSpPr txBox="1"/>
          <p:nvPr/>
        </p:nvSpPr>
        <p:spPr>
          <a:xfrm>
            <a:off x="9677669" y="1053217"/>
            <a:ext cx="187536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Z" sz="2000" b="1" dirty="0">
                <a:solidFill>
                  <a:schemeClr val="bg2"/>
                </a:solidFill>
                <a:latin typeface="Calibri" panose="020F0502020204030204"/>
              </a:rPr>
              <a:t>Input into further stories</a:t>
            </a:r>
            <a:endParaRPr lang="en-NZ" sz="1050" b="1" dirty="0">
              <a:solidFill>
                <a:schemeClr val="bg2"/>
              </a:solidFill>
              <a:latin typeface="Calibri" panose="020F0502020204030204"/>
            </a:endParaRPr>
          </a:p>
          <a:p>
            <a:pPr algn="ctr"/>
            <a:endParaRPr lang="en-NZ" sz="2000" b="1" dirty="0">
              <a:solidFill>
                <a:schemeClr val="bg2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3320033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1189" y="317500"/>
            <a:ext cx="8084336" cy="698500"/>
          </a:xfrm>
        </p:spPr>
        <p:txBody>
          <a:bodyPr/>
          <a:lstStyle/>
          <a:p>
            <a:r>
              <a:rPr lang="en-NZ" dirty="0">
                <a:solidFill>
                  <a:schemeClr val="bg1"/>
                </a:solidFill>
              </a:rPr>
              <a:t>Our Team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9" name="Rectangle: Rounded Corners 3"/>
          <p:cNvSpPr/>
          <p:nvPr/>
        </p:nvSpPr>
        <p:spPr>
          <a:xfrm>
            <a:off x="3189763" y="1503858"/>
            <a:ext cx="5745520" cy="3440277"/>
          </a:xfrm>
          <a:prstGeom prst="roundRect">
            <a:avLst/>
          </a:prstGeom>
          <a:solidFill>
            <a:schemeClr val="bg2"/>
          </a:solidFill>
          <a:ln w="28575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3" name="Graphic 70" descr="Man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82160" y="3923016"/>
            <a:ext cx="844550" cy="844550"/>
          </a:xfrm>
          <a:prstGeom prst="rect">
            <a:avLst/>
          </a:prstGeom>
        </p:spPr>
      </p:pic>
      <p:pic>
        <p:nvPicPr>
          <p:cNvPr id="54" name="Graphic 71" descr="Woman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23539" y="3926659"/>
            <a:ext cx="844550" cy="844550"/>
          </a:xfrm>
          <a:prstGeom prst="rect">
            <a:avLst/>
          </a:prstGeom>
        </p:spPr>
      </p:pic>
      <p:pic>
        <p:nvPicPr>
          <p:cNvPr id="55" name="Graphic 80" descr="Woman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87433" y="2404479"/>
            <a:ext cx="853433" cy="853433"/>
          </a:xfrm>
          <a:prstGeom prst="rect">
            <a:avLst/>
          </a:prstGeom>
        </p:spPr>
      </p:pic>
      <p:pic>
        <p:nvPicPr>
          <p:cNvPr id="60" name="Graphic 142" descr="Man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12079" y="2384464"/>
            <a:ext cx="853433" cy="853433"/>
          </a:xfrm>
          <a:prstGeom prst="rect">
            <a:avLst/>
          </a:prstGeom>
        </p:spPr>
      </p:pic>
      <p:pic>
        <p:nvPicPr>
          <p:cNvPr id="61" name="Graphic 144" descr="Man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268585" y="2384464"/>
            <a:ext cx="853433" cy="853433"/>
          </a:xfrm>
          <a:prstGeom prst="rect">
            <a:avLst/>
          </a:prstGeom>
        </p:spPr>
      </p:pic>
      <p:pic>
        <p:nvPicPr>
          <p:cNvPr id="62" name="Graphic 145" descr="Woman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55573" y="2384464"/>
            <a:ext cx="853433" cy="853433"/>
          </a:xfrm>
          <a:prstGeom prst="rect">
            <a:avLst/>
          </a:prstGeom>
        </p:spPr>
      </p:pic>
      <p:pic>
        <p:nvPicPr>
          <p:cNvPr id="63" name="Graphic 146" descr="Woman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41258" y="2401906"/>
            <a:ext cx="853433" cy="853433"/>
          </a:xfrm>
          <a:prstGeom prst="rect">
            <a:avLst/>
          </a:prstGeom>
        </p:spPr>
      </p:pic>
      <p:pic>
        <p:nvPicPr>
          <p:cNvPr id="64" name="Graphic 148" descr="Man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97764" y="2393185"/>
            <a:ext cx="853433" cy="853433"/>
          </a:xfrm>
          <a:prstGeom prst="rect">
            <a:avLst/>
          </a:prstGeom>
        </p:spPr>
      </p:pic>
      <p:pic>
        <p:nvPicPr>
          <p:cNvPr id="65" name="Graphic 149" descr="Man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25584" y="2384464"/>
            <a:ext cx="853433" cy="853433"/>
          </a:xfrm>
          <a:prstGeom prst="rect">
            <a:avLst/>
          </a:prstGeom>
        </p:spPr>
      </p:pic>
      <p:sp>
        <p:nvSpPr>
          <p:cNvPr id="66" name="TextBox 65"/>
          <p:cNvSpPr txBox="1"/>
          <p:nvPr/>
        </p:nvSpPr>
        <p:spPr>
          <a:xfrm>
            <a:off x="6476363" y="3464767"/>
            <a:ext cx="193890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Scrum Master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3739656" y="3464767"/>
            <a:ext cx="19295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Product Owner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4149063" y="1721675"/>
            <a:ext cx="39181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Developers, Business Analysts, Consultants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9133760" y="2287009"/>
            <a:ext cx="266859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/>
                </a:solidFill>
              </a:rPr>
              <a:t>Cross-functional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/>
                </a:solidFill>
              </a:rPr>
              <a:t>Co-locat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/>
                </a:solidFill>
              </a:rPr>
              <a:t>Self-</a:t>
            </a:r>
            <a:r>
              <a:rPr lang="en-US" dirty="0" err="1">
                <a:solidFill>
                  <a:schemeClr val="bg1"/>
                </a:solidFill>
              </a:rPr>
              <a:t>organising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/>
                </a:solidFill>
              </a:rPr>
              <a:t>Deliver business outcomes</a:t>
            </a:r>
          </a:p>
        </p:txBody>
      </p:sp>
    </p:spTree>
    <p:extLst>
      <p:ext uri="{BB962C8B-B14F-4D97-AF65-F5344CB8AC3E}">
        <p14:creationId xmlns:p14="http://schemas.microsoft.com/office/powerpoint/2010/main" val="48015703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 bwMode="gray">
          <a:xfrm>
            <a:off x="896112" y="1120937"/>
            <a:ext cx="5166415" cy="5175359"/>
          </a:xfrm>
          <a:prstGeom prst="rect">
            <a:avLst/>
          </a:prstGeom>
          <a:noFill/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1189" y="317500"/>
            <a:ext cx="8084336" cy="698500"/>
          </a:xfrm>
        </p:spPr>
        <p:txBody>
          <a:bodyPr/>
          <a:lstStyle/>
          <a:p>
            <a:r>
              <a:rPr lang="en-NZ" dirty="0">
                <a:solidFill>
                  <a:schemeClr val="bg1"/>
                </a:solidFill>
              </a:rPr>
              <a:t>Lessons Learnt – Product &amp; Approach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4" name="Slide Number Placeholder 2"/>
          <p:cNvSpPr txBox="1">
            <a:spLocks/>
          </p:cNvSpPr>
          <p:nvPr/>
        </p:nvSpPr>
        <p:spPr>
          <a:xfrm>
            <a:off x="9495996" y="6407835"/>
            <a:ext cx="792088" cy="252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5CC1D26-A9BD-4BDE-BDD9-08EDBAE96860}" type="slidenum">
              <a:rPr lang="en-GB"/>
              <a:pPr/>
              <a:t>9</a:t>
            </a:fld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2604745" y="1229670"/>
            <a:ext cx="184186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NZ" sz="2000" dirty="0">
                <a:solidFill>
                  <a:schemeClr val="bg1"/>
                </a:solidFill>
              </a:rPr>
              <a:t>Product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4" name="object 3"/>
          <p:cNvSpPr txBox="1"/>
          <p:nvPr/>
        </p:nvSpPr>
        <p:spPr>
          <a:xfrm>
            <a:off x="2405546" y="1960948"/>
            <a:ext cx="3389198" cy="88806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spcBef>
                <a:spcPts val="105"/>
              </a:spcBef>
            </a:pPr>
            <a:r>
              <a:rPr lang="en-NZ" sz="1400" b="1" dirty="0">
                <a:solidFill>
                  <a:srgbClr val="61B5E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/4HANA Public Cloud Maturity</a:t>
            </a:r>
          </a:p>
          <a:p>
            <a:pPr marL="12700" marR="5080">
              <a:spcBef>
                <a:spcPts val="105"/>
              </a:spcBef>
            </a:pPr>
            <a:r>
              <a:rPr lang="en-NZ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fficult to change solution build.  Currently lacks support for multiple teams.</a:t>
            </a:r>
            <a:endParaRPr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object 4"/>
          <p:cNvSpPr txBox="1"/>
          <p:nvPr/>
        </p:nvSpPr>
        <p:spPr>
          <a:xfrm>
            <a:off x="7782436" y="2121799"/>
            <a:ext cx="3315187" cy="6726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spcBef>
                <a:spcPts val="105"/>
              </a:spcBef>
            </a:pPr>
            <a:r>
              <a:rPr sz="1400" b="1" dirty="0">
                <a:solidFill>
                  <a:srgbClr val="FFFFFF"/>
                </a:solidFill>
                <a:cs typeface="Open Sans"/>
              </a:rPr>
              <a:t>Agile </a:t>
            </a:r>
            <a:r>
              <a:rPr sz="1400" b="1" spc="-5" dirty="0">
                <a:solidFill>
                  <a:srgbClr val="FFFFFF"/>
                </a:solidFill>
                <a:cs typeface="Open Sans"/>
              </a:rPr>
              <a:t>Deployment  </a:t>
            </a:r>
            <a:endParaRPr lang="en-NZ" sz="1400" b="1" spc="-5" dirty="0">
              <a:solidFill>
                <a:srgbClr val="FFFFFF"/>
              </a:solidFill>
              <a:cs typeface="Open Sans"/>
            </a:endParaRPr>
          </a:p>
          <a:p>
            <a:pPr marL="12700" marR="5080">
              <a:spcBef>
                <a:spcPts val="105"/>
              </a:spcBef>
            </a:pPr>
            <a:r>
              <a:rPr lang="en-NZ" sz="1400" spc="-5" dirty="0">
                <a:solidFill>
                  <a:srgbClr val="FFFFFF"/>
                </a:solidFill>
                <a:cs typeface="Open Sans"/>
              </a:rPr>
              <a:t>Early discovery of fit</a:t>
            </a:r>
            <a:r>
              <a:rPr sz="1400" dirty="0">
                <a:solidFill>
                  <a:srgbClr val="FFFFFF"/>
                </a:solidFill>
                <a:cs typeface="Open Sans"/>
              </a:rPr>
              <a:t>; </a:t>
            </a:r>
            <a:r>
              <a:rPr lang="en-NZ" sz="1400" dirty="0">
                <a:solidFill>
                  <a:srgbClr val="FFFFFF"/>
                </a:solidFill>
                <a:cs typeface="Open Sans"/>
              </a:rPr>
              <a:t>highly effective change management</a:t>
            </a:r>
            <a:endParaRPr sz="1400" dirty="0">
              <a:cs typeface="Open Sans"/>
            </a:endParaRPr>
          </a:p>
        </p:txBody>
      </p:sp>
      <p:sp>
        <p:nvSpPr>
          <p:cNvPr id="26" name="object 5"/>
          <p:cNvSpPr txBox="1"/>
          <p:nvPr/>
        </p:nvSpPr>
        <p:spPr>
          <a:xfrm>
            <a:off x="997360" y="1500048"/>
            <a:ext cx="1408187" cy="4542269"/>
          </a:xfrm>
          <a:prstGeom prst="rect">
            <a:avLst/>
          </a:prstGeom>
        </p:spPr>
        <p:txBody>
          <a:bodyPr vert="horz" wrap="square" lIns="0" tIns="261620" rIns="0" bIns="0" rtlCol="0">
            <a:spAutoFit/>
          </a:bodyPr>
          <a:lstStyle/>
          <a:p>
            <a:pPr marL="12700">
              <a:spcBef>
                <a:spcPts val="2060"/>
              </a:spcBef>
            </a:pPr>
            <a:r>
              <a:rPr sz="8000" spc="-10" dirty="0">
                <a:solidFill>
                  <a:srgbClr val="61B5E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  <a:endParaRPr sz="8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2700">
              <a:lnSpc>
                <a:spcPts val="10360"/>
              </a:lnSpc>
              <a:spcBef>
                <a:spcPts val="1964"/>
              </a:spcBef>
            </a:pPr>
            <a:r>
              <a:rPr sz="8000" spc="-10" dirty="0">
                <a:solidFill>
                  <a:srgbClr val="9DD4C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  <a:endParaRPr sz="8000" dirty="0">
              <a:solidFill>
                <a:srgbClr val="9DD4C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2700">
              <a:lnSpc>
                <a:spcPts val="10360"/>
              </a:lnSpc>
            </a:pPr>
            <a:r>
              <a:rPr sz="8000" spc="-10" dirty="0">
                <a:solidFill>
                  <a:srgbClr val="85BB2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sz="8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object 6"/>
          <p:cNvSpPr txBox="1"/>
          <p:nvPr/>
        </p:nvSpPr>
        <p:spPr>
          <a:xfrm>
            <a:off x="6233709" y="1602409"/>
            <a:ext cx="1552555" cy="4316566"/>
          </a:xfrm>
          <a:prstGeom prst="rect">
            <a:avLst/>
          </a:prstGeom>
        </p:spPr>
        <p:txBody>
          <a:bodyPr vert="horz" wrap="square" lIns="0" tIns="210820" rIns="0" bIns="0" rtlCol="0">
            <a:spAutoFit/>
          </a:bodyPr>
          <a:lstStyle/>
          <a:p>
            <a:pPr marL="12700">
              <a:spcBef>
                <a:spcPts val="1660"/>
              </a:spcBef>
            </a:pPr>
            <a:r>
              <a:rPr sz="8000" spc="-10" dirty="0">
                <a:solidFill>
                  <a:srgbClr val="FFFFFF"/>
                </a:solidFill>
                <a:cs typeface="Open Sans"/>
              </a:rPr>
              <a:t>0</a:t>
            </a:r>
            <a:r>
              <a:rPr lang="en-NZ" sz="8000" spc="-10" dirty="0">
                <a:solidFill>
                  <a:srgbClr val="FFFFFF"/>
                </a:solidFill>
                <a:cs typeface="Open Sans"/>
              </a:rPr>
              <a:t>1</a:t>
            </a:r>
            <a:endParaRPr sz="8000" dirty="0">
              <a:cs typeface="Open Sans"/>
            </a:endParaRPr>
          </a:p>
          <a:p>
            <a:pPr marL="12700">
              <a:lnSpc>
                <a:spcPts val="10360"/>
              </a:lnSpc>
              <a:spcBef>
                <a:spcPts val="1560"/>
              </a:spcBef>
            </a:pPr>
            <a:r>
              <a:rPr sz="8000" spc="-10" dirty="0">
                <a:solidFill>
                  <a:srgbClr val="0096A9"/>
                </a:solidFill>
                <a:cs typeface="Open Sans"/>
              </a:rPr>
              <a:t>0</a:t>
            </a:r>
            <a:r>
              <a:rPr lang="en-NZ" sz="8000" spc="-10" dirty="0">
                <a:solidFill>
                  <a:srgbClr val="0096A9"/>
                </a:solidFill>
                <a:cs typeface="Open Sans"/>
              </a:rPr>
              <a:t>2</a:t>
            </a:r>
            <a:endParaRPr sz="8000" dirty="0">
              <a:cs typeface="Open Sans"/>
            </a:endParaRPr>
          </a:p>
          <a:p>
            <a:pPr marL="12700">
              <a:lnSpc>
                <a:spcPts val="10360"/>
              </a:lnSpc>
            </a:pPr>
            <a:r>
              <a:rPr sz="8000" spc="-10" dirty="0">
                <a:solidFill>
                  <a:srgbClr val="61B5E4"/>
                </a:solidFill>
                <a:cs typeface="Open Sans"/>
              </a:rPr>
              <a:t>0</a:t>
            </a:r>
            <a:r>
              <a:rPr lang="en-NZ" sz="8000" spc="-10" dirty="0">
                <a:solidFill>
                  <a:srgbClr val="61B5E4"/>
                </a:solidFill>
                <a:cs typeface="Open Sans"/>
              </a:rPr>
              <a:t>3</a:t>
            </a:r>
            <a:endParaRPr sz="8000" dirty="0">
              <a:cs typeface="Open Sans"/>
            </a:endParaRPr>
          </a:p>
        </p:txBody>
      </p:sp>
      <p:sp>
        <p:nvSpPr>
          <p:cNvPr id="28" name="object 7"/>
          <p:cNvSpPr txBox="1"/>
          <p:nvPr/>
        </p:nvSpPr>
        <p:spPr>
          <a:xfrm>
            <a:off x="2414079" y="3533455"/>
            <a:ext cx="3389197" cy="6726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spcBef>
                <a:spcPts val="105"/>
              </a:spcBef>
            </a:pPr>
            <a:r>
              <a:rPr lang="en-NZ" sz="1400" b="1" dirty="0">
                <a:solidFill>
                  <a:srgbClr val="9DD4C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chnical Release of Change</a:t>
            </a:r>
            <a:endParaRPr lang="en-NZ" sz="1400" b="1" spc="-5" dirty="0">
              <a:solidFill>
                <a:srgbClr val="9DD4C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2700" marR="5080">
              <a:spcBef>
                <a:spcPts val="105"/>
              </a:spcBef>
            </a:pPr>
            <a:r>
              <a:rPr lang="en-NZ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gnificant planning required to manage impact of regular change.</a:t>
            </a:r>
            <a:endParaRPr sz="14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object 8"/>
          <p:cNvSpPr txBox="1"/>
          <p:nvPr/>
        </p:nvSpPr>
        <p:spPr>
          <a:xfrm>
            <a:off x="7782438" y="4794298"/>
            <a:ext cx="3315187" cy="659796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spcBef>
                <a:spcPts val="105"/>
              </a:spcBef>
            </a:pPr>
            <a:r>
              <a:rPr lang="en-NZ" sz="1400" b="1" spc="-5" dirty="0">
                <a:solidFill>
                  <a:schemeClr val="accent3"/>
                </a:solidFill>
                <a:cs typeface="Open Sans"/>
              </a:rPr>
              <a:t>SAP and Deloitte Readiness</a:t>
            </a:r>
            <a:endParaRPr sz="1400" dirty="0">
              <a:solidFill>
                <a:schemeClr val="accent3"/>
              </a:solidFill>
              <a:cs typeface="Open Sans"/>
            </a:endParaRPr>
          </a:p>
          <a:p>
            <a:pPr marL="12700" marR="5080"/>
            <a:r>
              <a:rPr lang="en-NZ" sz="1400" dirty="0">
                <a:solidFill>
                  <a:srgbClr val="FFFFFF"/>
                </a:solidFill>
                <a:cs typeface="Open Sans"/>
              </a:rPr>
              <a:t>Deloitte willingness to undertake the journey.  SAP willingness to listen.</a:t>
            </a:r>
            <a:endParaRPr sz="1400" dirty="0">
              <a:cs typeface="Open Sans"/>
            </a:endParaRPr>
          </a:p>
        </p:txBody>
      </p:sp>
      <p:sp>
        <p:nvSpPr>
          <p:cNvPr id="30" name="object 9"/>
          <p:cNvSpPr txBox="1"/>
          <p:nvPr/>
        </p:nvSpPr>
        <p:spPr>
          <a:xfrm>
            <a:off x="2405546" y="4686897"/>
            <a:ext cx="3389197" cy="874598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n-NZ" sz="1400" b="1" dirty="0">
                <a:solidFill>
                  <a:srgbClr val="85BB24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ident Management</a:t>
            </a:r>
            <a:endParaRPr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2700" marR="5080">
              <a:spcBef>
                <a:spcPts val="5"/>
              </a:spcBef>
            </a:pPr>
            <a:r>
              <a:rPr lang="en-NZ" sz="14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 to have Preferred Success and to get the right resolver involved with high priority incidents.</a:t>
            </a:r>
            <a:endParaRPr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object 10"/>
          <p:cNvSpPr txBox="1"/>
          <p:nvPr/>
        </p:nvSpPr>
        <p:spPr>
          <a:xfrm>
            <a:off x="7782437" y="3537967"/>
            <a:ext cx="3315187" cy="6719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algn="just">
              <a:spcBef>
                <a:spcPts val="100"/>
              </a:spcBef>
            </a:pPr>
            <a:r>
              <a:rPr lang="en-NZ" sz="1400" b="1" spc="-5" dirty="0">
                <a:solidFill>
                  <a:srgbClr val="0097A9"/>
                </a:solidFill>
                <a:cs typeface="Open Sans"/>
              </a:rPr>
              <a:t>TCG Readiness</a:t>
            </a:r>
          </a:p>
          <a:p>
            <a:pPr marL="12700" marR="5080">
              <a:spcBef>
                <a:spcPts val="100"/>
              </a:spcBef>
            </a:pPr>
            <a:r>
              <a:rPr lang="en-NZ" sz="1400" spc="-5" dirty="0">
                <a:solidFill>
                  <a:schemeClr val="bg1"/>
                </a:solidFill>
                <a:cs typeface="Open Sans"/>
              </a:rPr>
              <a:t>Team capability and leadership buy-in.</a:t>
            </a:r>
            <a:endParaRPr sz="1400" dirty="0">
              <a:solidFill>
                <a:schemeClr val="bg1"/>
              </a:solidFill>
              <a:cs typeface="Open San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705336" y="1229670"/>
            <a:ext cx="217865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NZ" sz="2000" dirty="0">
                <a:solidFill>
                  <a:schemeClr val="bg1"/>
                </a:solidFill>
              </a:rPr>
              <a:t>Agile Approach</a:t>
            </a:r>
            <a:endParaRPr lang="en-GB" sz="20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6163775" y="1120936"/>
            <a:ext cx="5166415" cy="5175359"/>
          </a:xfrm>
          <a:prstGeom prst="rect">
            <a:avLst/>
          </a:prstGeom>
          <a:noFill/>
          <a:ln w="2540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GB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03695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fault theme" id="{5A6E7C86-A245-4DCF-B7FA-3D304F2E5592}" vid="{687BCA11-9AC4-46C4-AC52-71CA1321DBE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58DE46E0A1924889F073AEB11CC77B" ma:contentTypeVersion="11" ma:contentTypeDescription="Create a new document." ma:contentTypeScope="" ma:versionID="f23ea84cc7d8827f97aa8f4b8d92b9a6">
  <xsd:schema xmlns:xsd="http://www.w3.org/2001/XMLSchema" xmlns:xs="http://www.w3.org/2001/XMLSchema" xmlns:p="http://schemas.microsoft.com/office/2006/metadata/properties" xmlns:ns3="ddf7d8fc-2999-4fcf-a9ff-103b40be64c8" xmlns:ns4="db6712d5-77ea-4565-8842-947fd5b29bf1" targetNamespace="http://schemas.microsoft.com/office/2006/metadata/properties" ma:root="true" ma:fieldsID="07d0c03636e5f132c03ffaf7e864114b" ns3:_="" ns4:_="">
    <xsd:import namespace="ddf7d8fc-2999-4fcf-a9ff-103b40be64c8"/>
    <xsd:import namespace="db6712d5-77ea-4565-8842-947fd5b29bf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f7d8fc-2999-4fcf-a9ff-103b40be64c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6712d5-77ea-4565-8842-947fd5b29bf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E7343BA-91B1-4620-9C4C-A4BACD8845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CA09E4-61A7-4AF2-9A04-6D91A56077C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df7d8fc-2999-4fcf-a9ff-103b40be64c8"/>
    <ds:schemaRef ds:uri="db6712d5-77ea-4565-8842-947fd5b29bf1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E4C25B7-A4E4-4D16-AE7B-0B874CB4024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f7d8fc-2999-4fcf-a9ff-103b40be64c8"/>
    <ds:schemaRef ds:uri="db6712d5-77ea-4565-8842-947fd5b29bf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8876</TotalTime>
  <Words>356</Words>
  <Application>Microsoft Office PowerPoint</Application>
  <PresentationFormat>Widescreen</PresentationFormat>
  <Paragraphs>129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Arial</vt:lpstr>
      <vt:lpstr>Arial Black</vt:lpstr>
      <vt:lpstr>Calibri</vt:lpstr>
      <vt:lpstr>Verdana</vt:lpstr>
      <vt:lpstr>Wingdings</vt:lpstr>
      <vt:lpstr>Wingdings 2</vt:lpstr>
      <vt:lpstr>Default theme</vt:lpstr>
      <vt:lpstr>think-cell Slide</vt:lpstr>
      <vt:lpstr>Applying Agile to Successful ERP Implementations</vt:lpstr>
      <vt:lpstr>Who are the New Zealand Comfort Group?</vt:lpstr>
      <vt:lpstr>PowerPoint Presentation</vt:lpstr>
      <vt:lpstr>Overview of the Current Plan/Roadmap</vt:lpstr>
      <vt:lpstr>ERP Solution Process Scope</vt:lpstr>
      <vt:lpstr>Stories Within Phases</vt:lpstr>
      <vt:lpstr>Our Story Delivery Pattern</vt:lpstr>
      <vt:lpstr>Our Team</vt:lpstr>
      <vt:lpstr>Lessons Learnt – Product &amp; Approach</vt:lpstr>
      <vt:lpstr>Questions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lls, Andrew</dc:creator>
  <cp:lastModifiedBy>Rosanne English</cp:lastModifiedBy>
  <cp:revision>88</cp:revision>
  <dcterms:created xsi:type="dcterms:W3CDTF">2019-05-31T02:49:05Z</dcterms:created>
  <dcterms:modified xsi:type="dcterms:W3CDTF">2019-09-01T19:41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58DE46E0A1924889F073AEB11CC77B</vt:lpwstr>
  </property>
  <property fmtid="{D5CDD505-2E9C-101B-9397-08002B2CF9AE}" pid="3" name="MSIP_Label_68eebd8b-c6d1-4b94-b904-d14fce421acd_Enabled">
    <vt:lpwstr>True</vt:lpwstr>
  </property>
  <property fmtid="{D5CDD505-2E9C-101B-9397-08002B2CF9AE}" pid="4" name="MSIP_Label_68eebd8b-c6d1-4b94-b904-d14fce421acd_SiteId">
    <vt:lpwstr>fb39e3e9-23a9-404e-93a2-b42a87d94f35</vt:lpwstr>
  </property>
  <property fmtid="{D5CDD505-2E9C-101B-9397-08002B2CF9AE}" pid="5" name="MSIP_Label_68eebd8b-c6d1-4b94-b904-d14fce421acd_Owner">
    <vt:lpwstr>rosanne.english@ird.govt.nz</vt:lpwstr>
  </property>
  <property fmtid="{D5CDD505-2E9C-101B-9397-08002B2CF9AE}" pid="6" name="MSIP_Label_68eebd8b-c6d1-4b94-b904-d14fce421acd_SetDate">
    <vt:lpwstr>2019-09-01T19:40:35.6914819Z</vt:lpwstr>
  </property>
  <property fmtid="{D5CDD505-2E9C-101B-9397-08002B2CF9AE}" pid="7" name="MSIP_Label_68eebd8b-c6d1-4b94-b904-d14fce421acd_Name">
    <vt:lpwstr>UNCLASSIFIED</vt:lpwstr>
  </property>
  <property fmtid="{D5CDD505-2E9C-101B-9397-08002B2CF9AE}" pid="8" name="MSIP_Label_68eebd8b-c6d1-4b94-b904-d14fce421acd_Application">
    <vt:lpwstr>Microsoft Azure Information Protection</vt:lpwstr>
  </property>
  <property fmtid="{D5CDD505-2E9C-101B-9397-08002B2CF9AE}" pid="9" name="MSIP_Label_68eebd8b-c6d1-4b94-b904-d14fce421acd_ActionId">
    <vt:lpwstr>8647e040-4319-459d-83dc-065bda301917</vt:lpwstr>
  </property>
  <property fmtid="{D5CDD505-2E9C-101B-9397-08002B2CF9AE}" pid="10" name="MSIP_Label_68eebd8b-c6d1-4b94-b904-d14fce421acd_Extended_MSFT_Method">
    <vt:lpwstr>Manual</vt:lpwstr>
  </property>
  <property fmtid="{D5CDD505-2E9C-101B-9397-08002B2CF9AE}" pid="11" name="MSIP_Label_a4f106f2-aad1-42d5-aa61-96837420719b_Enabled">
    <vt:lpwstr>True</vt:lpwstr>
  </property>
  <property fmtid="{D5CDD505-2E9C-101B-9397-08002B2CF9AE}" pid="12" name="MSIP_Label_a4f106f2-aad1-42d5-aa61-96837420719b_SiteId">
    <vt:lpwstr>fb39e3e9-23a9-404e-93a2-b42a87d94f35</vt:lpwstr>
  </property>
  <property fmtid="{D5CDD505-2E9C-101B-9397-08002B2CF9AE}" pid="13" name="MSIP_Label_a4f106f2-aad1-42d5-aa61-96837420719b_Owner">
    <vt:lpwstr>rosanne.english@ird.govt.nz</vt:lpwstr>
  </property>
  <property fmtid="{D5CDD505-2E9C-101B-9397-08002B2CF9AE}" pid="14" name="MSIP_Label_a4f106f2-aad1-42d5-aa61-96837420719b_SetDate">
    <vt:lpwstr>2019-09-01T19:40:35.6914819Z</vt:lpwstr>
  </property>
  <property fmtid="{D5CDD505-2E9C-101B-9397-08002B2CF9AE}" pid="15" name="MSIP_Label_a4f106f2-aad1-42d5-aa61-96837420719b_Name">
    <vt:lpwstr>UNCLASSIFIED</vt:lpwstr>
  </property>
  <property fmtid="{D5CDD505-2E9C-101B-9397-08002B2CF9AE}" pid="16" name="MSIP_Label_a4f106f2-aad1-42d5-aa61-96837420719b_Application">
    <vt:lpwstr>Microsoft Azure Information Protection</vt:lpwstr>
  </property>
  <property fmtid="{D5CDD505-2E9C-101B-9397-08002B2CF9AE}" pid="17" name="MSIP_Label_a4f106f2-aad1-42d5-aa61-96837420719b_ActionId">
    <vt:lpwstr>8647e040-4319-459d-83dc-065bda301917</vt:lpwstr>
  </property>
  <property fmtid="{D5CDD505-2E9C-101B-9397-08002B2CF9AE}" pid="18" name="MSIP_Label_a4f106f2-aad1-42d5-aa61-96837420719b_Parent">
    <vt:lpwstr>68eebd8b-c6d1-4b94-b904-d14fce421acd</vt:lpwstr>
  </property>
  <property fmtid="{D5CDD505-2E9C-101B-9397-08002B2CF9AE}" pid="19" name="MSIP_Label_a4f106f2-aad1-42d5-aa61-96837420719b_Extended_MSFT_Method">
    <vt:lpwstr>Manual</vt:lpwstr>
  </property>
  <property fmtid="{D5CDD505-2E9C-101B-9397-08002B2CF9AE}" pid="20" name="Sensitivity">
    <vt:lpwstr>UNCLASSIFIED UNCLASSIFIED</vt:lpwstr>
  </property>
</Properties>
</file>